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7" r:id="rId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48" y="-9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573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85" y="123701"/>
            <a:ext cx="10977033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endParaRPr lang="en-AU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07485" y="1159234"/>
            <a:ext cx="115845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/>
          <p:cNvSpPr/>
          <p:nvPr userDrawn="1"/>
        </p:nvSpPr>
        <p:spPr>
          <a:xfrm>
            <a:off x="607484" y="6565515"/>
            <a:ext cx="6096000" cy="1384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AU" sz="900" dirty="0">
                <a:solidFill>
                  <a:srgbClr val="666666"/>
                </a:solidFill>
                <a:latin typeface="Calibri" panose="020F0502020204030204" pitchFamily="34" charset="0"/>
                <a:cs typeface="Arial" charset="0"/>
              </a:rPr>
              <a:t>Copyright © 2018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1021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b="1" kern="1200" spc="0" baseline="0" dirty="0" smtClean="0">
          <a:solidFill>
            <a:schemeClr val="accent3"/>
          </a:solidFill>
          <a:latin typeface="Calibri" panose="020F0502020204030204" pitchFamily="34" charset="0"/>
          <a:ea typeface="Calibri" panose="020F0502020204030204" pitchFamily="34" charset="0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4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1pPr>
      <a:lvl2pPr marL="4572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2pPr>
      <a:lvl3pPr marL="6876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3pPr>
      <a:lvl4pPr marL="910800" indent="-2268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4pPr>
      <a:lvl5pPr marL="11448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931">
          <p15:clr>
            <a:srgbClr val="F26B43"/>
          </p15:clr>
        </p15:guide>
        <p15:guide id="3" pos="3749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  <p15:guide id="6" orient="horz" pos="4088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822">
          <p15:clr>
            <a:srgbClr val="F26B43"/>
          </p15:clr>
        </p15:guide>
        <p15:guide id="9" orient="horz" pos="10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2.jp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hyperlink" Target="mailto:Firstname.name@accenture.com" TargetMode="Externa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hyperlink" Target="mailto:Chitluri.himabindhu@accenture.com" TargetMode="Externa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93680" y="1220960"/>
            <a:ext cx="7315200" cy="304800"/>
          </a:xfrm>
          <a:prstGeom prst="rect">
            <a:avLst/>
          </a:prstGeom>
          <a:solidFill>
            <a:srgbClr val="00B0F0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lang="en-US" sz="1600">
                <a:solidFill>
                  <a:prstClr val="white"/>
                </a:solidFill>
                <a:latin typeface="Graphik" panose="020B0503030202060203" pitchFamily="34" charset="0"/>
                <a:cs typeface="Calibri"/>
              </a:rPr>
              <a:t>Technical Skill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95265" y="3470803"/>
            <a:ext cx="7313615" cy="301752"/>
          </a:xfrm>
          <a:prstGeom prst="rect">
            <a:avLst/>
          </a:prstGeom>
          <a:solidFill>
            <a:srgbClr val="00B0F0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Graphik" panose="020B0503030202060203" pitchFamily="34" charset="0"/>
                <a:cs typeface="Calibri"/>
              </a:rPr>
              <a:t>Selected Experience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1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1000" y="1255575"/>
            <a:ext cx="3962400" cy="170180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9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5143" y="3429000"/>
            <a:ext cx="3962401" cy="2925519"/>
          </a:xfrm>
          <a:prstGeom prst="rect">
            <a:avLst/>
          </a:prstGeom>
          <a:solidFill>
            <a:srgbClr val="FFFFFF"/>
          </a:solidFill>
          <a:ln w="28575">
            <a:noFill/>
            <a:miter lim="800000"/>
            <a:headEnd/>
            <a:tailEnd/>
          </a:ln>
        </p:spPr>
        <p:txBody>
          <a:bodyPr lIns="36000" tIns="90000" rIns="36000" bIns="90000"/>
          <a:lstStyle/>
          <a:p>
            <a:pPr marL="0" marR="0" lvl="0" indent="0" algn="just" defTabSz="917575" rtl="0" eaLnBrk="1" fontAlgn="auto" latinLnBrk="0" hangingPunct="1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SUMMARY</a:t>
            </a:r>
          </a:p>
          <a:p>
            <a:pPr defTabSz="914377" eaLnBrk="0" hangingPunct="0"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Ms. Shailaja Rapolu is Application Development Associate in Accenture’s Hyderabad, India.</a:t>
            </a:r>
          </a:p>
          <a:p>
            <a:pPr marL="171450" indent="-171450" defTabSz="914377" eaLnBrk="0" hangingPunct="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I have experience 1 years+.</a:t>
            </a:r>
          </a:p>
          <a:p>
            <a:pPr marL="171450" indent="-171450" defTabSz="914377" eaLnBrk="0" hangingPunct="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I have good knowledge on SQl database </a:t>
            </a:r>
          </a:p>
          <a:p>
            <a:pPr marL="171450" indent="-171450" defTabSz="914377" eaLnBrk="0" hangingPunct="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I am getting training in Ruby On Rails Technology under Martin Devapitchai from the last 2 months.</a:t>
            </a:r>
          </a:p>
          <a:p>
            <a:pPr marL="171450" indent="-171450" defTabSz="914377" eaLnBrk="0" hangingPunct="0">
              <a:buFont typeface="Arial" panose="020B0604020202020204" pitchFamily="34" charset="0"/>
              <a:buChar char="•"/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defTabSz="914377" eaLnBrk="0" hangingPunct="0"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marL="0" lvl="1">
              <a:spcBef>
                <a:spcPts val="267"/>
              </a:spcBef>
              <a:buClr>
                <a:srgbClr val="C0504D"/>
              </a:buClr>
              <a:tabLst>
                <a:tab pos="247644" algn="l"/>
                <a:tab pos="1068891" algn="l"/>
              </a:tabLst>
              <a:defRPr/>
            </a:pPr>
            <a:r>
              <a:rPr lang="en-US" sz="950" b="1" dirty="0">
                <a:solidFill>
                  <a:schemeClr val="tx1">
                    <a:lumMod val="95000"/>
                    <a:lumOff val="5000"/>
                  </a:schemeClr>
                </a:solidFill>
                <a:latin typeface="Graphik" panose="020B0503030202060203" pitchFamily="34" charset="0"/>
                <a:cs typeface="Calibri"/>
              </a:rPr>
              <a:t>EDUCATION</a:t>
            </a:r>
          </a:p>
          <a:p>
            <a:pPr marL="171450" lvl="1" indent="-171450">
              <a:spcBef>
                <a:spcPts val="267"/>
              </a:spcBef>
              <a:buClr>
                <a:srgbClr val="C0504D"/>
              </a:buClr>
              <a:buFont typeface="Arial" panose="020B0604020202020204" pitchFamily="34" charset="0"/>
              <a:buChar char="•"/>
              <a:tabLst>
                <a:tab pos="247644" algn="l"/>
                <a:tab pos="1068891" algn="l"/>
              </a:tabLst>
              <a:defRPr/>
            </a:pPr>
            <a:r>
              <a:rPr lang="en-US" sz="950" b="1" dirty="0">
                <a:latin typeface="Graphik" panose="020B0503030202060203" pitchFamily="34" charset="0"/>
                <a:cs typeface="Calibri"/>
              </a:rPr>
              <a:t>University college of engineering Kakatiya university .</a:t>
            </a:r>
          </a:p>
          <a:p>
            <a:pPr marL="0" lvl="1">
              <a:spcBef>
                <a:spcPts val="267"/>
              </a:spcBef>
              <a:buClr>
                <a:srgbClr val="C0504D"/>
              </a:buClr>
              <a:tabLst>
                <a:tab pos="247644" algn="l"/>
                <a:tab pos="1068891" algn="l"/>
              </a:tabLst>
              <a:defRPr/>
            </a:pPr>
            <a:r>
              <a:rPr lang="en-US" sz="1000" b="1" dirty="0">
                <a:latin typeface="Graphik" panose="020B0503030202060203" pitchFamily="34" charset="0"/>
                <a:cs typeface="Calibri"/>
              </a:rPr>
              <a:t>                </a:t>
            </a:r>
            <a:r>
              <a:rPr lang="en-US" sz="1000" dirty="0">
                <a:latin typeface="Graphik" panose="020B0503030202060203" pitchFamily="34" charset="0"/>
                <a:cs typeface="Calibri"/>
              </a:rPr>
              <a:t>Bachelor Technology (Electrical and Electronics ).</a:t>
            </a:r>
            <a:endParaRPr lang="en-US" sz="1000" dirty="0"/>
          </a:p>
        </p:txBody>
      </p:sp>
      <p:sp>
        <p:nvSpPr>
          <p:cNvPr id="21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3405" y="3869883"/>
            <a:ext cx="7315201" cy="286441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I have Knowledge on developing webpages using Ruby On Rails , Bootstrap Technology.</a:t>
            </a: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I have got trained on Java Standard Edition in GFT Training by LKM Techgenics.</a:t>
            </a:r>
          </a:p>
          <a:p>
            <a:pPr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defRPr/>
            </a:pPr>
            <a:r>
              <a:rPr lang="en-US" sz="950" b="1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TECHNOLOGIES:</a:t>
            </a: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Ruby On Rails.</a:t>
            </a: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Bootstrap.</a:t>
            </a: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HTML.</a:t>
            </a: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CSS.</a:t>
            </a:r>
          </a:p>
          <a:p>
            <a:pPr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Wingdings" panose="05000000000000000000" pitchFamily="2" charset="2"/>
              <a:buChar char="§"/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Wingdings" panose="05000000000000000000" pitchFamily="2" charset="2"/>
              <a:buChar char="§"/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defRPr/>
            </a:pPr>
            <a:endParaRPr lang="en-US" sz="95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marL="171450" indent="-171450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Font typeface="Wingdings" pitchFamily="2" charset="2"/>
              <a:buChar char="§"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22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81000" y="3055800"/>
            <a:ext cx="3962400" cy="304800"/>
          </a:xfrm>
          <a:prstGeom prst="rect">
            <a:avLst/>
          </a:prstGeom>
          <a:solidFill>
            <a:srgbClr val="00B0F0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Professional Background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564640" y="1247320"/>
            <a:ext cx="2903900" cy="16596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GB" b="1" kern="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Shailaja rapolu</a:t>
            </a:r>
            <a:endParaRPr lang="en-GB" sz="1200" kern="0" dirty="0">
              <a:solidFill>
                <a:srgbClr val="000000"/>
              </a:solidFill>
              <a:latin typeface="Graphik" panose="020B0503030202060203" pitchFamily="34" charset="0"/>
              <a:cs typeface="Calibri"/>
              <a:hlinkClick r:id="rId11"/>
            </a:endParaRPr>
          </a:p>
          <a:p>
            <a:pPr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r>
              <a:rPr lang="en-US" sz="1200" kern="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  <a:hlinkClick r:id="rId11"/>
              </a:rPr>
              <a:t>shailaja.rapolu@accenture.com</a:t>
            </a:r>
            <a:endParaRPr lang="en-US" sz="1200" kern="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lvl="0"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endParaRPr lang="en-GB" sz="1200" kern="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lvl="0"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ACCENTURE</a:t>
            </a:r>
          </a:p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Hyderabad, India</a:t>
            </a:r>
          </a:p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noProof="0" dirty="0">
              <a:solidFill>
                <a:srgbClr val="000000"/>
              </a:solidFill>
              <a:latin typeface="Graphik" panose="020B0503030202060203" pitchFamily="34" charset="0"/>
              <a:cs typeface="Calibri"/>
              <a:hlinkClick r:id="rId12"/>
            </a:endParaRPr>
          </a:p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marL="0" marR="0" lvl="0" indent="0" algn="l" defTabSz="914400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	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143" y="123701"/>
            <a:ext cx="11503737" cy="1002979"/>
          </a:xfrm>
        </p:spPr>
        <p:txBody>
          <a:bodyPr anchor="ctr"/>
          <a:lstStyle/>
          <a:p>
            <a:pPr algn="ctr"/>
            <a:r>
              <a:rPr lang="en-US" sz="2600" dirty="0">
                <a:solidFill>
                  <a:schemeClr val="tx1"/>
                </a:solidFill>
                <a:latin typeface="Graphik" panose="020B0503030202060203" pitchFamily="34" charset="0"/>
              </a:rPr>
              <a:t>SHAILAJA RAPOLU </a:t>
            </a:r>
            <a:br>
              <a:rPr lang="en-US" sz="2600" dirty="0">
                <a:solidFill>
                  <a:schemeClr val="tx1"/>
                </a:solidFill>
                <a:latin typeface="Graphik" panose="020B0503030202060203" pitchFamily="34" charset="0"/>
              </a:rPr>
            </a:br>
            <a:r>
              <a:rPr lang="en-US" sz="2600" dirty="0">
                <a:solidFill>
                  <a:schemeClr val="tx1"/>
                </a:solidFill>
                <a:latin typeface="Graphik" panose="020B0503030202060203" pitchFamily="34" charset="0"/>
              </a:rPr>
              <a:t>Application Development Associate</a:t>
            </a:r>
            <a:endParaRPr lang="en-US" sz="2600" cap="small" dirty="0">
              <a:solidFill>
                <a:schemeClr val="tx1"/>
              </a:solidFill>
              <a:latin typeface="Graphik" panose="020B0503030202060203" pitchFamily="34" charset="0"/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F54BB2B9-A0CC-4A2E-B2A2-8AD770894A0F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817709" y="1491473"/>
            <a:ext cx="4091171" cy="12300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ts val="600"/>
              </a:spcBef>
              <a:buClr>
                <a:srgbClr val="224433"/>
              </a:buClr>
              <a:buSzPct val="75000"/>
              <a:defRPr/>
            </a:pPr>
            <a:endParaRPr lang="en-US" sz="950" dirty="0">
              <a:solidFill>
                <a:sysClr val="windowText" lastClr="00000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98699074-1DAB-4CC4-B44D-51B9EA8067C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593679" y="1530496"/>
            <a:ext cx="3251533" cy="12300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Java Standard edition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Spring boot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Kafka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SQL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Ruby On Rails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Spring Core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HTML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CSS , Bootstrap</a:t>
            </a:r>
          </a:p>
          <a:p>
            <a:pPr marL="117475" indent="-117475">
              <a:spcBef>
                <a:spcPct val="30000"/>
              </a:spcBef>
              <a:buClr>
                <a:schemeClr val="tx1"/>
              </a:buClr>
              <a:buSzPct val="75000"/>
              <a:buFont typeface="Wingdings" pitchFamily="2" charset="2"/>
              <a:buChar char="§"/>
            </a:pPr>
            <a:r>
              <a:rPr lang="en-US" altLang="zh-CN" sz="1000" i="1" dirty="0">
                <a:latin typeface="Graphik" panose="020B0503030202060203" pitchFamily="34" charset="0"/>
                <a:ea typeface="SimSun" pitchFamily="2" charset="-122"/>
                <a:cs typeface="Calibri"/>
              </a:rPr>
              <a:t>SCDF</a:t>
            </a:r>
          </a:p>
        </p:txBody>
      </p:sp>
      <p:pic>
        <p:nvPicPr>
          <p:cNvPr id="4" name="Picture 3" descr="A person taking a selfie&#10;&#10;Description automatically generated with medium confidence">
            <a:extLst>
              <a:ext uri="{FF2B5EF4-FFF2-40B4-BE49-F238E27FC236}">
                <a16:creationId xmlns:a16="http://schemas.microsoft.com/office/drawing/2014/main" id="{93F1E1E0-2953-4A60-AD7C-2FB957F57B5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76" y="1255575"/>
            <a:ext cx="955024" cy="127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5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IOmT2C5U6SnztNsX5N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Unhs5g4Um87saeKq3u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AC0nH_U0qWUYQJE8Rp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u6Y61wjk63z1NP9Qdu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k9Li0jTEyEBG2xZ3aN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01MG9jC0GUpkC_yrLK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bPA3sgiUKOcs3zj6ub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Az6q7NY0SghkWzMT5t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IOmT2C5U6SnztNsX5NEA"/>
</p:tagLst>
</file>

<file path=ppt/theme/theme1.xml><?xml version="1.0" encoding="utf-8"?>
<a:theme xmlns:a="http://schemas.openxmlformats.org/drawingml/2006/main" name="2_Accenture_PLM">
  <a:themeElements>
    <a:clrScheme name="Benutzerdefiniert 20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EEAA00"/>
      </a:accent1>
      <a:accent2>
        <a:srgbClr val="408FCD"/>
      </a:accent2>
      <a:accent3>
        <a:srgbClr val="002266"/>
      </a:accent3>
      <a:accent4>
        <a:srgbClr val="00AA99"/>
      </a:accent4>
      <a:accent5>
        <a:srgbClr val="00BBEE"/>
      </a:accent5>
      <a:accent6>
        <a:srgbClr val="66AA44"/>
      </a:accent6>
      <a:hlink>
        <a:srgbClr val="408FCD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9CB34E5AFA33438C594FCE0722F7C7" ma:contentTypeVersion="11" ma:contentTypeDescription="Create a new document." ma:contentTypeScope="" ma:versionID="e6b5fb8d1be03b1648c1840f52b37a10">
  <xsd:schema xmlns:xsd="http://www.w3.org/2001/XMLSchema" xmlns:xs="http://www.w3.org/2001/XMLSchema" xmlns:p="http://schemas.microsoft.com/office/2006/metadata/properties" xmlns:ns2="6410c086-0661-4220-b489-cecfdb9c1d6b" xmlns:ns3="079ae849-9834-43a8-a106-bdcd82674aba" targetNamespace="http://schemas.microsoft.com/office/2006/metadata/properties" ma:root="true" ma:fieldsID="e76c047e9bc0fc1fa1ef240ebaf03ace" ns2:_="" ns3:_="">
    <xsd:import namespace="6410c086-0661-4220-b489-cecfdb9c1d6b"/>
    <xsd:import namespace="079ae849-9834-43a8-a106-bdcd82674a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10c086-0661-4220-b489-cecfdb9c1d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Length (seconds)" ma:internalName="MediaLengthInSeconds" ma:readOnly="true">
      <xsd:simpleType>
        <xsd:restriction base="dms:Unknown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ae849-9834-43a8-a106-bdcd82674ab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4D49D4-FD14-4738-BC84-0A732D2056C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F79C6AE-2739-4614-83FA-7DCD3FC3BB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49B981-AA19-4ED2-941F-145CE0EF08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410c086-0661-4220-b489-cecfdb9c1d6b"/>
    <ds:schemaRef ds:uri="079ae849-9834-43a8-a106-bdcd82674a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50</TotalTime>
  <Words>146</Words>
  <Application>Microsoft Office PowerPoint</Application>
  <PresentationFormat>Widescreen</PresentationFormat>
  <Paragraphs>4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phik</vt:lpstr>
      <vt:lpstr>Wingdings</vt:lpstr>
      <vt:lpstr>2_Accenture_PLM</vt:lpstr>
      <vt:lpstr>think-cell Folie</vt:lpstr>
      <vt:lpstr>SHAILAJA RAPOLU  Application Development Associ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nard, Pierre</dc:title>
  <dc:creator>Odinot, Aurelien</dc:creator>
  <cp:lastModifiedBy>Rapolu, Shailaja</cp:lastModifiedBy>
  <cp:revision>522</cp:revision>
  <cp:lastPrinted>2019-03-25T15:54:22Z</cp:lastPrinted>
  <dcterms:created xsi:type="dcterms:W3CDTF">2018-04-12T21:28:07Z</dcterms:created>
  <dcterms:modified xsi:type="dcterms:W3CDTF">2022-06-08T14:2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bc0f418-96a4-4caf-9d7c-ccc5ec7f9d91_Enabled">
    <vt:lpwstr>True</vt:lpwstr>
  </property>
  <property fmtid="{D5CDD505-2E9C-101B-9397-08002B2CF9AE}" pid="3" name="MSIP_Label_1bc0f418-96a4-4caf-9d7c-ccc5ec7f9d91_SiteId">
    <vt:lpwstr>e0793d39-0939-496d-b129-198edd916feb</vt:lpwstr>
  </property>
  <property fmtid="{D5CDD505-2E9C-101B-9397-08002B2CF9AE}" pid="4" name="MSIP_Label_1bc0f418-96a4-4caf-9d7c-ccc5ec7f9d91_SetDate">
    <vt:lpwstr>2019-03-22T14:51:55.5441298Z</vt:lpwstr>
  </property>
  <property fmtid="{D5CDD505-2E9C-101B-9397-08002B2CF9AE}" pid="5" name="MSIP_Label_1bc0f418-96a4-4caf-9d7c-ccc5ec7f9d91_Name">
    <vt:lpwstr>Unrestricted</vt:lpwstr>
  </property>
  <property fmtid="{D5CDD505-2E9C-101B-9397-08002B2CF9AE}" pid="6" name="MSIP_Label_1bc0f418-96a4-4caf-9d7c-ccc5ec7f9d91_Extended_MSFT_Method">
    <vt:lpwstr>Manual</vt:lpwstr>
  </property>
  <property fmtid="{D5CDD505-2E9C-101B-9397-08002B2CF9AE}" pid="7" name="Sensitivity">
    <vt:lpwstr>Unrestricted</vt:lpwstr>
  </property>
  <property fmtid="{D5CDD505-2E9C-101B-9397-08002B2CF9AE}" pid="8" name="ContentTypeId">
    <vt:lpwstr>0x0101005F9CB34E5AFA33438C594FCE0722F7C7</vt:lpwstr>
  </property>
</Properties>
</file>